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C7A2984-65FC-4A47-88F5-681D024787F7}" v="68" dt="2024-09-13T15:03:03.2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llipalli, Lakshmi Susmitha Jayasri SBOBNG-PTIY/AAF" userId="04856b88-c793-4769-a00b-f1847eebc676" providerId="ADAL" clId="{BC7A2984-65FC-4A47-88F5-681D024787F7}"/>
    <pc:docChg chg="undo redo custSel modSld">
      <pc:chgData name="Jallipalli, Lakshmi Susmitha Jayasri SBOBNG-PTIY/AAF" userId="04856b88-c793-4769-a00b-f1847eebc676" providerId="ADAL" clId="{BC7A2984-65FC-4A47-88F5-681D024787F7}" dt="2024-09-13T15:03:03.241" v="1593" actId="14100"/>
      <pc:docMkLst>
        <pc:docMk/>
      </pc:docMkLst>
      <pc:sldChg chg="addSp delSp modSp">
        <pc:chgData name="Jallipalli, Lakshmi Susmitha Jayasri SBOBNG-PTIY/AAF" userId="04856b88-c793-4769-a00b-f1847eebc676" providerId="ADAL" clId="{BC7A2984-65FC-4A47-88F5-681D024787F7}" dt="2024-09-13T15:03:03.241" v="1593" actId="14100"/>
        <pc:sldMkLst>
          <pc:docMk/>
          <pc:sldMk cId="245881457" sldId="2147375597"/>
        </pc:sldMkLst>
        <pc:picChg chg="add del mod">
          <ac:chgData name="Jallipalli, Lakshmi Susmitha Jayasri SBOBNG-PTIY/AAF" userId="04856b88-c793-4769-a00b-f1847eebc676" providerId="ADAL" clId="{BC7A2984-65FC-4A47-88F5-681D024787F7}" dt="2024-09-13T14:59:58.507" v="1555" actId="478"/>
          <ac:picMkLst>
            <pc:docMk/>
            <pc:sldMk cId="245881457" sldId="2147375597"/>
            <ac:picMk id="4098" creationId="{0D3D3D1F-41A5-2DBE-80EB-95725D8BE032}"/>
          </ac:picMkLst>
        </pc:picChg>
        <pc:picChg chg="add mod">
          <ac:chgData name="Jallipalli, Lakshmi Susmitha Jayasri SBOBNG-PTIY/AAF" userId="04856b88-c793-4769-a00b-f1847eebc676" providerId="ADAL" clId="{BC7A2984-65FC-4A47-88F5-681D024787F7}" dt="2024-09-13T15:03:03.241" v="1593" actId="14100"/>
          <ac:picMkLst>
            <pc:docMk/>
            <pc:sldMk cId="245881457" sldId="2147375597"/>
            <ac:picMk id="4099" creationId="{7C108DA4-0A12-025B-D4C1-CAC2D76EE2F2}"/>
          </ac:picMkLst>
        </pc:picChg>
      </pc:sldChg>
      <pc:sldChg chg="addSp modSp mod">
        <pc:chgData name="Jallipalli, Lakshmi Susmitha Jayasri SBOBNG-PTIY/AAF" userId="04856b88-c793-4769-a00b-f1847eebc676" providerId="ADAL" clId="{BC7A2984-65FC-4A47-88F5-681D024787F7}" dt="2024-09-13T15:00:20.779" v="1566" actId="1076"/>
        <pc:sldMkLst>
          <pc:docMk/>
          <pc:sldMk cId="1181112711" sldId="2147375600"/>
        </pc:sldMkLst>
        <pc:picChg chg="add mod">
          <ac:chgData name="Jallipalli, Lakshmi Susmitha Jayasri SBOBNG-PTIY/AAF" userId="04856b88-c793-4769-a00b-f1847eebc676" providerId="ADAL" clId="{BC7A2984-65FC-4A47-88F5-681D024787F7}" dt="2024-09-13T15:00:20.779" v="1566" actId="1076"/>
          <ac:picMkLst>
            <pc:docMk/>
            <pc:sldMk cId="1181112711" sldId="2147375600"/>
            <ac:picMk id="5" creationId="{7010085E-D22C-3A09-F3F4-6F1C90E91FB8}"/>
          </ac:picMkLst>
        </pc:picChg>
      </pc:sldChg>
      <pc:sldChg chg="addSp modSp">
        <pc:chgData name="Jallipalli, Lakshmi Susmitha Jayasri SBOBNG-PTIY/AAF" userId="04856b88-c793-4769-a00b-f1847eebc676" providerId="ADAL" clId="{BC7A2984-65FC-4A47-88F5-681D024787F7}" dt="2024-09-13T15:01:28.758" v="1578" actId="1035"/>
        <pc:sldMkLst>
          <pc:docMk/>
          <pc:sldMk cId="3233747587" sldId="2147375601"/>
        </pc:sldMkLst>
        <pc:picChg chg="add mod">
          <ac:chgData name="Jallipalli, Lakshmi Susmitha Jayasri SBOBNG-PTIY/AAF" userId="04856b88-c793-4769-a00b-f1847eebc676" providerId="ADAL" clId="{BC7A2984-65FC-4A47-88F5-681D024787F7}" dt="2024-09-13T15:01:28.758" v="1578" actId="1035"/>
          <ac:picMkLst>
            <pc:docMk/>
            <pc:sldMk cId="3233747587" sldId="2147375601"/>
            <ac:picMk id="5122" creationId="{F99B47DE-DE3D-CB84-DEA0-891684C1F838}"/>
          </ac:picMkLst>
        </pc:picChg>
      </pc:sldChg>
      <pc:sldChg chg="addSp delSp modSp mod">
        <pc:chgData name="Jallipalli, Lakshmi Susmitha Jayasri SBOBNG-PTIY/AAF" userId="04856b88-c793-4769-a00b-f1847eebc676" providerId="ADAL" clId="{BC7A2984-65FC-4A47-88F5-681D024787F7}" dt="2024-09-13T14:38:37.412" v="1505" actId="1036"/>
        <pc:sldMkLst>
          <pc:docMk/>
          <pc:sldMk cId="3971512377" sldId="2147375603"/>
        </pc:sldMkLst>
        <pc:spChg chg="add">
          <ac:chgData name="Jallipalli, Lakshmi Susmitha Jayasri SBOBNG-PTIY/AAF" userId="04856b88-c793-4769-a00b-f1847eebc676" providerId="ADAL" clId="{BC7A2984-65FC-4A47-88F5-681D024787F7}" dt="2024-09-13T11:03:25.099" v="0"/>
          <ac:spMkLst>
            <pc:docMk/>
            <pc:sldMk cId="3971512377" sldId="2147375603"/>
            <ac:spMk id="2" creationId="{253BFEA2-3A08-1C56-2888-DF0CA3C6A444}"/>
          </ac:spMkLst>
        </pc:spChg>
        <pc:spChg chg="mod">
          <ac:chgData name="Jallipalli, Lakshmi Susmitha Jayasri SBOBNG-PTIY/AAF" userId="04856b88-c793-4769-a00b-f1847eebc676" providerId="ADAL" clId="{BC7A2984-65FC-4A47-88F5-681D024787F7}" dt="2024-09-13T12:14:44.358" v="1" actId="255"/>
          <ac:spMkLst>
            <pc:docMk/>
            <pc:sldMk cId="3971512377" sldId="2147375603"/>
            <ac:spMk id="11" creationId="{DE9F1BE0-7910-FA1B-DCE8-56EFD1E4FC09}"/>
          </ac:spMkLst>
        </pc:spChg>
        <pc:spChg chg="add del mod">
          <ac:chgData name="Jallipalli, Lakshmi Susmitha Jayasri SBOBNG-PTIY/AAF" userId="04856b88-c793-4769-a00b-f1847eebc676" providerId="ADAL" clId="{BC7A2984-65FC-4A47-88F5-681D024787F7}" dt="2024-09-13T14:34:46.670" v="1492" actId="478"/>
          <ac:spMkLst>
            <pc:docMk/>
            <pc:sldMk cId="3971512377" sldId="2147375603"/>
            <ac:spMk id="12" creationId="{E53E5C3F-4D2B-B85F-E592-E58E032C664C}"/>
          </ac:spMkLst>
        </pc:spChg>
        <pc:picChg chg="add mod">
          <ac:chgData name="Jallipalli, Lakshmi Susmitha Jayasri SBOBNG-PTIY/AAF" userId="04856b88-c793-4769-a00b-f1847eebc676" providerId="ADAL" clId="{BC7A2984-65FC-4A47-88F5-681D024787F7}" dt="2024-09-13T14:38:37.412" v="1505" actId="1036"/>
          <ac:picMkLst>
            <pc:docMk/>
            <pc:sldMk cId="3971512377" sldId="2147375603"/>
            <ac:picMk id="6" creationId="{46429467-3581-655B-4B63-1334579B6CC8}"/>
          </ac:picMkLst>
        </pc:picChg>
        <pc:picChg chg="add del mod">
          <ac:chgData name="Jallipalli, Lakshmi Susmitha Jayasri SBOBNG-PTIY/AAF" userId="04856b88-c793-4769-a00b-f1847eebc676" providerId="ADAL" clId="{BC7A2984-65FC-4A47-88F5-681D024787F7}" dt="2024-09-13T14:34:46.670" v="1492" actId="478"/>
          <ac:picMkLst>
            <pc:docMk/>
            <pc:sldMk cId="3971512377" sldId="2147375603"/>
            <ac:picMk id="1026" creationId="{8C5E1806-3474-C710-D9A8-EC48539C5EF4}"/>
          </ac:picMkLst>
        </pc:picChg>
        <pc:picChg chg="del">
          <ac:chgData name="Jallipalli, Lakshmi Susmitha Jayasri SBOBNG-PTIY/AAF" userId="04856b88-c793-4769-a00b-f1847eebc676" providerId="ADAL" clId="{BC7A2984-65FC-4A47-88F5-681D024787F7}" dt="2024-09-13T13:30:20.383" v="1074" actId="478"/>
          <ac:picMkLst>
            <pc:docMk/>
            <pc:sldMk cId="3971512377" sldId="2147375603"/>
            <ac:picMk id="4098" creationId="{B48A67E8-62F0-4C54-FCAC-C8025AE24576}"/>
          </ac:picMkLst>
        </pc:picChg>
      </pc:sldChg>
      <pc:sldChg chg="addSp delSp modSp mod">
        <pc:chgData name="Jallipalli, Lakshmi Susmitha Jayasri SBOBNG-PTIY/AAF" userId="04856b88-c793-4769-a00b-f1847eebc676" providerId="ADAL" clId="{BC7A2984-65FC-4A47-88F5-681D024787F7}" dt="2024-09-13T14:43:39.754" v="1514" actId="14100"/>
        <pc:sldMkLst>
          <pc:docMk/>
          <pc:sldMk cId="3179805674" sldId="2147375604"/>
        </pc:sldMkLst>
        <pc:spChg chg="mod">
          <ac:chgData name="Jallipalli, Lakshmi Susmitha Jayasri SBOBNG-PTIY/AAF" userId="04856b88-c793-4769-a00b-f1847eebc676" providerId="ADAL" clId="{BC7A2984-65FC-4A47-88F5-681D024787F7}" dt="2024-09-13T12:18:49.829" v="17" actId="20577"/>
          <ac:spMkLst>
            <pc:docMk/>
            <pc:sldMk cId="3179805674" sldId="2147375604"/>
            <ac:spMk id="11" creationId="{DE9F1BE0-7910-FA1B-DCE8-56EFD1E4FC09}"/>
          </ac:spMkLst>
        </pc:spChg>
        <pc:picChg chg="add mod">
          <ac:chgData name="Jallipalli, Lakshmi Susmitha Jayasri SBOBNG-PTIY/AAF" userId="04856b88-c793-4769-a00b-f1847eebc676" providerId="ADAL" clId="{BC7A2984-65FC-4A47-88F5-681D024787F7}" dt="2024-09-13T14:43:39.754" v="1514" actId="14100"/>
          <ac:picMkLst>
            <pc:docMk/>
            <pc:sldMk cId="3179805674" sldId="2147375604"/>
            <ac:picMk id="2050" creationId="{7DF5D841-C46B-B6B6-729F-FADB2085B51C}"/>
          </ac:picMkLst>
        </pc:picChg>
        <pc:picChg chg="del">
          <ac:chgData name="Jallipalli, Lakshmi Susmitha Jayasri SBOBNG-PTIY/AAF" userId="04856b88-c793-4769-a00b-f1847eebc676" providerId="ADAL" clId="{BC7A2984-65FC-4A47-88F5-681D024787F7}" dt="2024-09-13T12:18:05.541" v="2" actId="478"/>
          <ac:picMkLst>
            <pc:docMk/>
            <pc:sldMk cId="3179805674" sldId="2147375604"/>
            <ac:picMk id="5122" creationId="{4383E360-7D2C-646F-B3A9-DA18E75EAE5D}"/>
          </ac:picMkLst>
        </pc:picChg>
      </pc:sldChg>
      <pc:sldChg chg="addSp delSp modSp mod">
        <pc:chgData name="Jallipalli, Lakshmi Susmitha Jayasri SBOBNG-PTIY/AAF" userId="04856b88-c793-4769-a00b-f1847eebc676" providerId="ADAL" clId="{BC7A2984-65FC-4A47-88F5-681D024787F7}" dt="2024-09-13T14:45:13.113" v="1524" actId="14100"/>
        <pc:sldMkLst>
          <pc:docMk/>
          <pc:sldMk cId="86366928" sldId="2147375605"/>
        </pc:sldMkLst>
        <pc:spChg chg="mod">
          <ac:chgData name="Jallipalli, Lakshmi Susmitha Jayasri SBOBNG-PTIY/AAF" userId="04856b88-c793-4769-a00b-f1847eebc676" providerId="ADAL" clId="{BC7A2984-65FC-4A47-88F5-681D024787F7}" dt="2024-09-13T12:21:37.991" v="42" actId="20577"/>
          <ac:spMkLst>
            <pc:docMk/>
            <pc:sldMk cId="86366928" sldId="2147375605"/>
            <ac:spMk id="11" creationId="{DE9F1BE0-7910-FA1B-DCE8-56EFD1E4FC09}"/>
          </ac:spMkLst>
        </pc:spChg>
        <pc:spChg chg="mod">
          <ac:chgData name="Jallipalli, Lakshmi Susmitha Jayasri SBOBNG-PTIY/AAF" userId="04856b88-c793-4769-a00b-f1847eebc676" providerId="ADAL" clId="{BC7A2984-65FC-4A47-88F5-681D024787F7}" dt="2024-09-13T14:45:09.202" v="1523" actId="1076"/>
          <ac:spMkLst>
            <pc:docMk/>
            <pc:sldMk cId="86366928" sldId="2147375605"/>
            <ac:spMk id="12" creationId="{E53E5C3F-4D2B-B85F-E592-E58E032C664C}"/>
          </ac:spMkLst>
        </pc:spChg>
        <pc:picChg chg="add mod">
          <ac:chgData name="Jallipalli, Lakshmi Susmitha Jayasri SBOBNG-PTIY/AAF" userId="04856b88-c793-4769-a00b-f1847eebc676" providerId="ADAL" clId="{BC7A2984-65FC-4A47-88F5-681D024787F7}" dt="2024-09-13T14:45:13.113" v="1524" actId="14100"/>
          <ac:picMkLst>
            <pc:docMk/>
            <pc:sldMk cId="86366928" sldId="2147375605"/>
            <ac:picMk id="6" creationId="{E4F530DF-B92B-0A63-4191-0B35E43D122C}"/>
          </ac:picMkLst>
        </pc:picChg>
        <pc:picChg chg="del">
          <ac:chgData name="Jallipalli, Lakshmi Susmitha Jayasri SBOBNG-PTIY/AAF" userId="04856b88-c793-4769-a00b-f1847eebc676" providerId="ADAL" clId="{BC7A2984-65FC-4A47-88F5-681D024787F7}" dt="2024-09-13T12:18:55.735" v="18" actId="478"/>
          <ac:picMkLst>
            <pc:docMk/>
            <pc:sldMk cId="86366928" sldId="2147375605"/>
            <ac:picMk id="6146" creationId="{DF747A7B-B57C-8702-94BD-5FF37F486D65}"/>
          </ac:picMkLst>
        </pc:picChg>
      </pc:sldChg>
      <pc:sldChg chg="addSp delSp modSp mod">
        <pc:chgData name="Jallipalli, Lakshmi Susmitha Jayasri SBOBNG-PTIY/AAF" userId="04856b88-c793-4769-a00b-f1847eebc676" providerId="ADAL" clId="{BC7A2984-65FC-4A47-88F5-681D024787F7}" dt="2024-09-13T14:47:53.223" v="1541" actId="14100"/>
        <pc:sldMkLst>
          <pc:docMk/>
          <pc:sldMk cId="2340944189" sldId="2147375607"/>
        </pc:sldMkLst>
        <pc:spChg chg="mod">
          <ac:chgData name="Jallipalli, Lakshmi Susmitha Jayasri SBOBNG-PTIY/AAF" userId="04856b88-c793-4769-a00b-f1847eebc676" providerId="ADAL" clId="{BC7A2984-65FC-4A47-88F5-681D024787F7}" dt="2024-09-13T14:45:53.718" v="1531" actId="1076"/>
          <ac:spMkLst>
            <pc:docMk/>
            <pc:sldMk cId="2340944189" sldId="2147375607"/>
            <ac:spMk id="11" creationId="{DE9F1BE0-7910-FA1B-DCE8-56EFD1E4FC09}"/>
          </ac:spMkLst>
        </pc:spChg>
        <pc:picChg chg="del">
          <ac:chgData name="Jallipalli, Lakshmi Susmitha Jayasri SBOBNG-PTIY/AAF" userId="04856b88-c793-4769-a00b-f1847eebc676" providerId="ADAL" clId="{BC7A2984-65FC-4A47-88F5-681D024787F7}" dt="2024-09-13T12:21:46.650" v="43" actId="478"/>
          <ac:picMkLst>
            <pc:docMk/>
            <pc:sldMk cId="2340944189" sldId="2147375607"/>
            <ac:picMk id="6" creationId="{C9654071-0EC0-3816-0B54-B384555C8C37}"/>
          </ac:picMkLst>
        </pc:picChg>
        <pc:picChg chg="add mod">
          <ac:chgData name="Jallipalli, Lakshmi Susmitha Jayasri SBOBNG-PTIY/AAF" userId="04856b88-c793-4769-a00b-f1847eebc676" providerId="ADAL" clId="{BC7A2984-65FC-4A47-88F5-681D024787F7}" dt="2024-09-13T14:45:53.718" v="1531" actId="1076"/>
          <ac:picMkLst>
            <pc:docMk/>
            <pc:sldMk cId="2340944189" sldId="2147375607"/>
            <ac:picMk id="3074" creationId="{200DFF77-6BDF-E222-E285-65BEEB908894}"/>
          </ac:picMkLst>
        </pc:picChg>
        <pc:picChg chg="add mod">
          <ac:chgData name="Jallipalli, Lakshmi Susmitha Jayasri SBOBNG-PTIY/AAF" userId="04856b88-c793-4769-a00b-f1847eebc676" providerId="ADAL" clId="{BC7A2984-65FC-4A47-88F5-681D024787F7}" dt="2024-09-13T14:47:53.223" v="1541" actId="14100"/>
          <ac:picMkLst>
            <pc:docMk/>
            <pc:sldMk cId="2340944189" sldId="2147375607"/>
            <ac:picMk id="3076" creationId="{60E9E588-19BD-F084-ED87-49F691D3C6A0}"/>
          </ac:picMkLst>
        </pc:picChg>
      </pc:sldChg>
      <pc:sldChg chg="addSp delSp modSp mod">
        <pc:chgData name="Jallipalli, Lakshmi Susmitha Jayasri SBOBNG-PTIY/AAF" userId="04856b88-c793-4769-a00b-f1847eebc676" providerId="ADAL" clId="{BC7A2984-65FC-4A47-88F5-681D024787F7}" dt="2024-09-13T14:50:45.837" v="1546" actId="14100"/>
        <pc:sldMkLst>
          <pc:docMk/>
          <pc:sldMk cId="3159148252" sldId="2147375608"/>
        </pc:sldMkLst>
        <pc:spChg chg="mod">
          <ac:chgData name="Jallipalli, Lakshmi Susmitha Jayasri SBOBNG-PTIY/AAF" userId="04856b88-c793-4769-a00b-f1847eebc676" providerId="ADAL" clId="{BC7A2984-65FC-4A47-88F5-681D024787F7}" dt="2024-09-13T14:03:59.264" v="1376" actId="20577"/>
          <ac:spMkLst>
            <pc:docMk/>
            <pc:sldMk cId="3159148252" sldId="2147375608"/>
            <ac:spMk id="11" creationId="{DE9F1BE0-7910-FA1B-DCE8-56EFD1E4FC09}"/>
          </ac:spMkLst>
        </pc:spChg>
        <pc:picChg chg="del">
          <ac:chgData name="Jallipalli, Lakshmi Susmitha Jayasri SBOBNG-PTIY/AAF" userId="04856b88-c793-4769-a00b-f1847eebc676" providerId="ADAL" clId="{BC7A2984-65FC-4A47-88F5-681D024787F7}" dt="2024-09-13T13:28:52.381" v="1051" actId="478"/>
          <ac:picMkLst>
            <pc:docMk/>
            <pc:sldMk cId="3159148252" sldId="2147375608"/>
            <ac:picMk id="6" creationId="{0BC8DA3C-03FA-81A9-65FF-93F17699C673}"/>
          </ac:picMkLst>
        </pc:picChg>
        <pc:picChg chg="add mod">
          <ac:chgData name="Jallipalli, Lakshmi Susmitha Jayasri SBOBNG-PTIY/AAF" userId="04856b88-c793-4769-a00b-f1847eebc676" providerId="ADAL" clId="{BC7A2984-65FC-4A47-88F5-681D024787F7}" dt="2024-09-13T14:50:45.837" v="1546" actId="14100"/>
          <ac:picMkLst>
            <pc:docMk/>
            <pc:sldMk cId="3159148252" sldId="2147375608"/>
            <ac:picMk id="8" creationId="{43E669F1-C314-0EF4-4EA2-A457B6B2F101}"/>
          </ac:picMkLst>
        </pc:picChg>
      </pc:sldChg>
      <pc:sldChg chg="addSp delSp modSp mod">
        <pc:chgData name="Jallipalli, Lakshmi Susmitha Jayasri SBOBNG-PTIY/AAF" userId="04856b88-c793-4769-a00b-f1847eebc676" providerId="ADAL" clId="{BC7A2984-65FC-4A47-88F5-681D024787F7}" dt="2024-09-13T14:52:10.578" v="1551" actId="14100"/>
        <pc:sldMkLst>
          <pc:docMk/>
          <pc:sldMk cId="3070204084" sldId="2147375609"/>
        </pc:sldMkLst>
        <pc:spChg chg="mod">
          <ac:chgData name="Jallipalli, Lakshmi Susmitha Jayasri SBOBNG-PTIY/AAF" userId="04856b88-c793-4769-a00b-f1847eebc676" providerId="ADAL" clId="{BC7A2984-65FC-4A47-88F5-681D024787F7}" dt="2024-09-13T14:19:22.993" v="1487" actId="20577"/>
          <ac:spMkLst>
            <pc:docMk/>
            <pc:sldMk cId="3070204084" sldId="2147375609"/>
            <ac:spMk id="11" creationId="{DE9F1BE0-7910-FA1B-DCE8-56EFD1E4FC09}"/>
          </ac:spMkLst>
        </pc:spChg>
        <pc:picChg chg="del">
          <ac:chgData name="Jallipalli, Lakshmi Susmitha Jayasri SBOBNG-PTIY/AAF" userId="04856b88-c793-4769-a00b-f1847eebc676" providerId="ADAL" clId="{BC7A2984-65FC-4A47-88F5-681D024787F7}" dt="2024-09-13T13:28:26.746" v="1050" actId="478"/>
          <ac:picMkLst>
            <pc:docMk/>
            <pc:sldMk cId="3070204084" sldId="2147375609"/>
            <ac:picMk id="6" creationId="{F8532A21-C41D-3D04-5876-B309738B6DC2}"/>
          </ac:picMkLst>
        </pc:picChg>
        <pc:picChg chg="add mod">
          <ac:chgData name="Jallipalli, Lakshmi Susmitha Jayasri SBOBNG-PTIY/AAF" userId="04856b88-c793-4769-a00b-f1847eebc676" providerId="ADAL" clId="{BC7A2984-65FC-4A47-88F5-681D024787F7}" dt="2024-09-13T14:52:10.578" v="1551" actId="14100"/>
          <ac:picMkLst>
            <pc:docMk/>
            <pc:sldMk cId="3070204084" sldId="2147375609"/>
            <ac:picMk id="8" creationId="{20D1B463-7263-8DBF-282E-6D83ECB06C4D}"/>
          </ac:picMkLst>
        </pc:picChg>
      </pc:sldChg>
      <pc:sldChg chg="modSp mod">
        <pc:chgData name="Jallipalli, Lakshmi Susmitha Jayasri SBOBNG-PTIY/AAF" userId="04856b88-c793-4769-a00b-f1847eebc676" providerId="ADAL" clId="{BC7A2984-65FC-4A47-88F5-681D024787F7}" dt="2024-09-13T13:28:21.100" v="1049" actId="20577"/>
        <pc:sldMkLst>
          <pc:docMk/>
          <pc:sldMk cId="3754613224" sldId="2147375611"/>
        </pc:sldMkLst>
        <pc:spChg chg="mod">
          <ac:chgData name="Jallipalli, Lakshmi Susmitha Jayasri SBOBNG-PTIY/AAF" userId="04856b88-c793-4769-a00b-f1847eebc676" providerId="ADAL" clId="{BC7A2984-65FC-4A47-88F5-681D024787F7}" dt="2024-09-13T13:15:14.750" v="974" actId="20577"/>
          <ac:spMkLst>
            <pc:docMk/>
            <pc:sldMk cId="3754613224" sldId="2147375611"/>
            <ac:spMk id="18" creationId="{6C73795A-BE20-7075-E9C6-6F145CE60794}"/>
          </ac:spMkLst>
        </pc:spChg>
        <pc:spChg chg="mod">
          <ac:chgData name="Jallipalli, Lakshmi Susmitha Jayasri SBOBNG-PTIY/AAF" userId="04856b88-c793-4769-a00b-f1847eebc676" providerId="ADAL" clId="{BC7A2984-65FC-4A47-88F5-681D024787F7}" dt="2024-09-13T13:17:49.931" v="1035" actId="20577"/>
          <ac:spMkLst>
            <pc:docMk/>
            <pc:sldMk cId="3754613224" sldId="2147375611"/>
            <ac:spMk id="19" creationId="{A3E2F4D1-4417-E244-3DB9-A6FF5866A342}"/>
          </ac:spMkLst>
        </pc:spChg>
        <pc:spChg chg="mod">
          <ac:chgData name="Jallipalli, Lakshmi Susmitha Jayasri SBOBNG-PTIY/AAF" userId="04856b88-c793-4769-a00b-f1847eebc676" providerId="ADAL" clId="{BC7A2984-65FC-4A47-88F5-681D024787F7}" dt="2024-09-13T13:28:21.100" v="1049" actId="20577"/>
          <ac:spMkLst>
            <pc:docMk/>
            <pc:sldMk cId="3754613224" sldId="2147375611"/>
            <ac:spMk id="20" creationId="{3EBEB0AC-D407-44FD-A74F-90F67F3D13C3}"/>
          </ac:spMkLst>
        </pc:spChg>
      </pc:sldChg>
      <pc:sldChg chg="modSp mod">
        <pc:chgData name="Jallipalli, Lakshmi Susmitha Jayasri SBOBNG-PTIY/AAF" userId="04856b88-c793-4769-a00b-f1847eebc676" providerId="ADAL" clId="{BC7A2984-65FC-4A47-88F5-681D024787F7}" dt="2024-09-13T12:59:12.952" v="863" actId="20577"/>
        <pc:sldMkLst>
          <pc:docMk/>
          <pc:sldMk cId="1148838763" sldId="2147375613"/>
        </pc:sldMkLst>
        <pc:spChg chg="mod">
          <ac:chgData name="Jallipalli, Lakshmi Susmitha Jayasri SBOBNG-PTIY/AAF" userId="04856b88-c793-4769-a00b-f1847eebc676" providerId="ADAL" clId="{BC7A2984-65FC-4A47-88F5-681D024787F7}" dt="2024-09-13T12:59:12.952" v="863" actId="20577"/>
          <ac:spMkLst>
            <pc:docMk/>
            <pc:sldMk cId="1148838763" sldId="2147375613"/>
            <ac:spMk id="11" creationId="{8CC1343B-2E39-FEFF-8FF6-46822F18B432}"/>
          </ac:spMkLst>
        </pc:spChg>
      </pc:sldChg>
      <pc:sldChg chg="modSp mod">
        <pc:chgData name="Jallipalli, Lakshmi Susmitha Jayasri SBOBNG-PTIY/AAF" userId="04856b88-c793-4769-a00b-f1847eebc676" providerId="ADAL" clId="{BC7A2984-65FC-4A47-88F5-681D024787F7}" dt="2024-09-13T12:35:35.585" v="586" actId="20577"/>
        <pc:sldMkLst>
          <pc:docMk/>
          <pc:sldMk cId="3865850111" sldId="2147375614"/>
        </pc:sldMkLst>
        <pc:spChg chg="mod">
          <ac:chgData name="Jallipalli, Lakshmi Susmitha Jayasri SBOBNG-PTIY/AAF" userId="04856b88-c793-4769-a00b-f1847eebc676" providerId="ADAL" clId="{BC7A2984-65FC-4A47-88F5-681D024787F7}" dt="2024-09-13T12:35:35.585" v="586" actId="20577"/>
          <ac:spMkLst>
            <pc:docMk/>
            <pc:sldMk cId="3865850111" sldId="2147375614"/>
            <ac:spMk id="6" creationId="{AC2F88D2-81D4-FAD4-568E-A3F495B06411}"/>
          </ac:spMkLst>
        </pc:spChg>
      </pc:sldChg>
    </pc:docChg>
  </pc:docChgLst>
  <pc:docChgLst>
    <pc:chgData name="Jallipalli, Lakshmi Susmitha Jayasri SBOBNG-PTIY/AAF" userId="04856b88-c793-4769-a00b-f1847eebc676" providerId="ADAL" clId="{2EDD8A40-5559-4C24-A867-3C963FBD612F}"/>
    <pc:docChg chg="undo custSel modSld">
      <pc:chgData name="Jallipalli, Lakshmi Susmitha Jayasri SBOBNG-PTIY/AAF" userId="04856b88-c793-4769-a00b-f1847eebc676" providerId="ADAL" clId="{2EDD8A40-5559-4C24-A867-3C963FBD612F}" dt="2024-09-12T03:40:14.308" v="1523" actId="20577"/>
      <pc:docMkLst>
        <pc:docMk/>
      </pc:docMkLst>
      <pc:sldChg chg="modSp mod">
        <pc:chgData name="Jallipalli, Lakshmi Susmitha Jayasri SBOBNG-PTIY/AAF" userId="04856b88-c793-4769-a00b-f1847eebc676" providerId="ADAL" clId="{2EDD8A40-5559-4C24-A867-3C963FBD612F}" dt="2024-09-11T09:15:25.289" v="8" actId="20577"/>
        <pc:sldMkLst>
          <pc:docMk/>
          <pc:sldMk cId="3267775274" sldId="256"/>
        </pc:sldMkLst>
        <pc:spChg chg="mod">
          <ac:chgData name="Jallipalli, Lakshmi Susmitha Jayasri SBOBNG-PTIY/AAF" userId="04856b88-c793-4769-a00b-f1847eebc676" providerId="ADAL" clId="{2EDD8A40-5559-4C24-A867-3C963FBD612F}" dt="2024-09-11T09:14:34.712" v="0" actId="20577"/>
          <ac:spMkLst>
            <pc:docMk/>
            <pc:sldMk cId="3267775274" sldId="256"/>
            <ac:spMk id="6" creationId="{0C37A4A8-A3C7-407F-B123-88E2E165C827}"/>
          </ac:spMkLst>
        </pc:spChg>
        <pc:spChg chg="mod">
          <ac:chgData name="Jallipalli, Lakshmi Susmitha Jayasri SBOBNG-PTIY/AAF" userId="04856b88-c793-4769-a00b-f1847eebc676" providerId="ADAL" clId="{2EDD8A40-5559-4C24-A867-3C963FBD612F}" dt="2024-09-11T09:15:25.289" v="8" actId="20577"/>
          <ac:spMkLst>
            <pc:docMk/>
            <pc:sldMk cId="3267775274" sldId="256"/>
            <ac:spMk id="13" creationId="{C48F8DD6-A1B3-8126-FAC3-218B712C7FFB}"/>
          </ac:spMkLst>
        </pc:spChg>
      </pc:sldChg>
      <pc:sldChg chg="delSp modSp mod">
        <pc:chgData name="Jallipalli, Lakshmi Susmitha Jayasri SBOBNG-PTIY/AAF" userId="04856b88-c793-4769-a00b-f1847eebc676" providerId="ADAL" clId="{2EDD8A40-5559-4C24-A867-3C963FBD612F}" dt="2024-09-11T10:23:16.966" v="959" actId="478"/>
        <pc:sldMkLst>
          <pc:docMk/>
          <pc:sldMk cId="245881457" sldId="2147375597"/>
        </pc:sldMkLst>
        <pc:spChg chg="mod">
          <ac:chgData name="Jallipalli, Lakshmi Susmitha Jayasri SBOBNG-PTIY/AAF" userId="04856b88-c793-4769-a00b-f1847eebc676" providerId="ADAL" clId="{2EDD8A40-5559-4C24-A867-3C963FBD612F}" dt="2024-09-11T10:23:13.689" v="958" actId="20577"/>
          <ac:spMkLst>
            <pc:docMk/>
            <pc:sldMk cId="245881457" sldId="2147375597"/>
            <ac:spMk id="11" creationId="{DE9F1BE0-7910-FA1B-DCE8-56EFD1E4FC09}"/>
          </ac:spMkLst>
        </pc:spChg>
        <pc:picChg chg="del">
          <ac:chgData name="Jallipalli, Lakshmi Susmitha Jayasri SBOBNG-PTIY/AAF" userId="04856b88-c793-4769-a00b-f1847eebc676" providerId="ADAL" clId="{2EDD8A40-5559-4C24-A867-3C963FBD612F}" dt="2024-09-11T10:23:16.966" v="959" actId="478"/>
          <ac:picMkLst>
            <pc:docMk/>
            <pc:sldMk cId="245881457" sldId="2147375597"/>
            <ac:picMk id="5" creationId="{8192759F-85F4-D9CB-FE55-DE57B83CACD4}"/>
          </ac:picMkLst>
        </pc:picChg>
      </pc:sldChg>
      <pc:sldChg chg="addSp delSp modSp mod">
        <pc:chgData name="Jallipalli, Lakshmi Susmitha Jayasri SBOBNG-PTIY/AAF" userId="04856b88-c793-4769-a00b-f1847eebc676" providerId="ADAL" clId="{2EDD8A40-5559-4C24-A867-3C963FBD612F}" dt="2024-09-12T03:39:12.116" v="1468"/>
        <pc:sldMkLst>
          <pc:docMk/>
          <pc:sldMk cId="1181112711" sldId="2147375600"/>
        </pc:sldMkLst>
        <pc:spChg chg="add">
          <ac:chgData name="Jallipalli, Lakshmi Susmitha Jayasri SBOBNG-PTIY/AAF" userId="04856b88-c793-4769-a00b-f1847eebc676" providerId="ADAL" clId="{2EDD8A40-5559-4C24-A867-3C963FBD612F}" dt="2024-09-12T03:30:30.952" v="1465"/>
          <ac:spMkLst>
            <pc:docMk/>
            <pc:sldMk cId="1181112711" sldId="2147375600"/>
            <ac:spMk id="2" creationId="{3015EC00-679E-BF6A-8E49-C721FEE419EF}"/>
          </ac:spMkLst>
        </pc:spChg>
        <pc:spChg chg="mod">
          <ac:chgData name="Jallipalli, Lakshmi Susmitha Jayasri SBOBNG-PTIY/AAF" userId="04856b88-c793-4769-a00b-f1847eebc676" providerId="ADAL" clId="{2EDD8A40-5559-4C24-A867-3C963FBD612F}" dt="2024-09-12T03:39:12.116" v="1468"/>
          <ac:spMkLst>
            <pc:docMk/>
            <pc:sldMk cId="1181112711" sldId="2147375600"/>
            <ac:spMk id="11" creationId="{DE9F1BE0-7910-FA1B-DCE8-56EFD1E4FC09}"/>
          </ac:spMkLst>
        </pc:spChg>
        <pc:picChg chg="del">
          <ac:chgData name="Jallipalli, Lakshmi Susmitha Jayasri SBOBNG-PTIY/AAF" userId="04856b88-c793-4769-a00b-f1847eebc676" providerId="ADAL" clId="{2EDD8A40-5559-4C24-A867-3C963FBD612F}" dt="2024-09-11T10:25:57.475" v="979" actId="478"/>
          <ac:picMkLst>
            <pc:docMk/>
            <pc:sldMk cId="1181112711" sldId="2147375600"/>
            <ac:picMk id="2050" creationId="{320DE141-5FE6-3935-2CC4-E1EED0EB3400}"/>
          </ac:picMkLst>
        </pc:picChg>
      </pc:sldChg>
      <pc:sldChg chg="delSp modSp mod">
        <pc:chgData name="Jallipalli, Lakshmi Susmitha Jayasri SBOBNG-PTIY/AAF" userId="04856b88-c793-4769-a00b-f1847eebc676" providerId="ADAL" clId="{2EDD8A40-5559-4C24-A867-3C963FBD612F}" dt="2024-09-12T03:40:14.308" v="1523" actId="20577"/>
        <pc:sldMkLst>
          <pc:docMk/>
          <pc:sldMk cId="3233747587" sldId="2147375601"/>
        </pc:sldMkLst>
        <pc:spChg chg="mod">
          <ac:chgData name="Jallipalli, Lakshmi Susmitha Jayasri SBOBNG-PTIY/AAF" userId="04856b88-c793-4769-a00b-f1847eebc676" providerId="ADAL" clId="{2EDD8A40-5559-4C24-A867-3C963FBD612F}" dt="2024-09-12T03:40:14.308" v="1523" actId="20577"/>
          <ac:spMkLst>
            <pc:docMk/>
            <pc:sldMk cId="3233747587" sldId="2147375601"/>
            <ac:spMk id="11" creationId="{DE9F1BE0-7910-FA1B-DCE8-56EFD1E4FC09}"/>
          </ac:spMkLst>
        </pc:spChg>
        <pc:picChg chg="del">
          <ac:chgData name="Jallipalli, Lakshmi Susmitha Jayasri SBOBNG-PTIY/AAF" userId="04856b88-c793-4769-a00b-f1847eebc676" providerId="ADAL" clId="{2EDD8A40-5559-4C24-A867-3C963FBD612F}" dt="2024-09-12T03:39:37.973" v="1469" actId="478"/>
          <ac:picMkLst>
            <pc:docMk/>
            <pc:sldMk cId="3233747587" sldId="2147375601"/>
            <ac:picMk id="5" creationId="{87472080-581D-3F9D-81DB-D70183D8F7F8}"/>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3/2024</a:t>
            </a:fld>
            <a:endParaRPr lang="en-US" dirty="0"/>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dirty="0"/>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13/09/2024</a:t>
            </a:fld>
            <a:endParaRPr lang="fr-FR"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dirty="0"/>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dirty="0"/>
              <a:t>Click icon to add media</a:t>
            </a:r>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dirty="0"/>
              <a:t>Click icon to add picture</a:t>
            </a:r>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dirty="0"/>
              <a:t>Click icon to add picture</a:t>
            </a:r>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dirty="0"/>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jfif"/><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fif"/><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3</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Jallipalli Lakshmi Susmitha Jayasri</a:t>
            </a:r>
          </a:p>
        </p:txBody>
      </p:sp>
      <p:sp>
        <p:nvSpPr>
          <p:cNvPr id="13" name="TextBox 12">
            <a:extLst>
              <a:ext uri="{FF2B5EF4-FFF2-40B4-BE49-F238E27FC236}">
                <a16:creationId xmlns:a16="http://schemas.microsoft.com/office/drawing/2014/main" id="{C48F8DD6-A1B3-8126-FAC3-218B712C7FFB}"/>
              </a:ext>
            </a:extLst>
          </p:cNvPr>
          <p:cNvSpPr txBox="1"/>
          <p:nvPr/>
        </p:nvSpPr>
        <p:spPr>
          <a:xfrm>
            <a:off x="684269" y="5501011"/>
            <a:ext cx="7469623" cy="523220"/>
          </a:xfrm>
          <a:prstGeom prst="rect">
            <a:avLst/>
          </a:prstGeom>
          <a:noFill/>
        </p:spPr>
        <p:txBody>
          <a:bodyPr wrap="square" rtlCol="0">
            <a:spAutoFit/>
          </a:bodyPr>
          <a:lstStyle/>
          <a:p>
            <a:r>
              <a:rPr lang="en-IN" sz="2800" b="1" dirty="0">
                <a:solidFill>
                  <a:schemeClr val="bg1"/>
                </a:solidFill>
              </a:rPr>
              <a:t>Date : 13-Sep-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t>The SELECT query in ABAP is fundamental for retrieving data from database tables, which is crucial for Shell’s operations. It allows for efficient data extraction, enabling real-time analytics and decision-making. For instance, Shell can use SELECT queries to track supply chain activities and manage financial transactions.</a:t>
            </a:r>
          </a:p>
          <a:p>
            <a:pPr marL="0" indent="0">
              <a:buNone/>
            </a:pPr>
            <a:r>
              <a:rPr lang="en-US" sz="1800" dirty="0"/>
              <a:t>Shell can define custom tables to store specific business data, such as environmental metrics or project management details. This customization helps in aligning SAP applications with Shell’s unique business processes. For example, Shell might create tables to track carbon emissions data, which can then be queried and analyzed to support sustainability initiativ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black rectangular object with white text&#10;&#10;Description automatically generated">
            <a:extLst>
              <a:ext uri="{FF2B5EF4-FFF2-40B4-BE49-F238E27FC236}">
                <a16:creationId xmlns:a16="http://schemas.microsoft.com/office/drawing/2014/main" id="{E4F530DF-B92B-0A63-4191-0B35E43D122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0799" y="1860993"/>
            <a:ext cx="5349007" cy="4076241"/>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706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Challenge: </a:t>
            </a:r>
            <a:r>
              <a:rPr lang="en-US" sz="2000" dirty="0"/>
              <a:t>Understanding business process and how it works has been difficult for me</a:t>
            </a:r>
          </a:p>
          <a:p>
            <a:pPr marL="0" indent="0">
              <a:buNone/>
            </a:pPr>
            <a:r>
              <a:rPr lang="en-US" sz="2000" b="1" dirty="0"/>
              <a:t>Plan: </a:t>
            </a:r>
            <a:r>
              <a:rPr lang="en-US" sz="2000" dirty="0"/>
              <a:t>I have understood by studying various case studies that helps me understand tha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3076" name="Picture 4" descr="Image result for business processes case study">
            <a:extLst>
              <a:ext uri="{FF2B5EF4-FFF2-40B4-BE49-F238E27FC236}">
                <a16:creationId xmlns:a16="http://schemas.microsoft.com/office/drawing/2014/main" id="{60E9E588-19BD-F084-ED87-49F691D3C6A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488" t="12156" r="488" b="11575"/>
          <a:stretch/>
        </p:blipFill>
        <p:spPr bwMode="auto">
          <a:xfrm>
            <a:off x="6400799" y="1870618"/>
            <a:ext cx="5323029" cy="4066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Challenge: </a:t>
            </a:r>
            <a:r>
              <a:rPr lang="en-US" sz="2000" dirty="0"/>
              <a:t>I am not familiar with SAP GUI and its usage.</a:t>
            </a:r>
          </a:p>
          <a:p>
            <a:pPr marL="0" indent="0">
              <a:buNone/>
            </a:pPr>
            <a:r>
              <a:rPr lang="en-US" sz="2000" b="1" dirty="0"/>
              <a:t>Plan: </a:t>
            </a:r>
            <a:r>
              <a:rPr lang="en-US" sz="2000" dirty="0"/>
              <a:t>I started using website more to get more familiarized with i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a:extLst>
              <a:ext uri="{FF2B5EF4-FFF2-40B4-BE49-F238E27FC236}">
                <a16:creationId xmlns:a16="http://schemas.microsoft.com/office/drawing/2014/main" id="{43E669F1-C314-0EF4-4EA2-A457B6B2F101}"/>
              </a:ext>
            </a:extLst>
          </p:cNvPr>
          <p:cNvPicPr>
            <a:picLocks noChangeAspect="1"/>
          </p:cNvPicPr>
          <p:nvPr/>
        </p:nvPicPr>
        <p:blipFill>
          <a:blip r:embed="rId7"/>
          <a:stretch>
            <a:fillRect/>
          </a:stretch>
        </p:blipFill>
        <p:spPr>
          <a:xfrm>
            <a:off x="6400799" y="1860993"/>
            <a:ext cx="5349007" cy="4076241"/>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Challenge: </a:t>
            </a:r>
            <a:r>
              <a:rPr lang="en-US" sz="2000" dirty="0"/>
              <a:t>I have difficulty in understanding the syntax of ABAP.</a:t>
            </a:r>
          </a:p>
          <a:p>
            <a:pPr marL="0" indent="0">
              <a:buNone/>
            </a:pPr>
            <a:r>
              <a:rPr lang="en-US" sz="2000" b="1" dirty="0"/>
              <a:t>Plan: </a:t>
            </a:r>
            <a:r>
              <a:rPr lang="en-US" sz="2000" dirty="0"/>
              <a:t>I kept practicing codes and tried to improve knowledge on it.</a:t>
            </a:r>
            <a:endParaRPr lang="en-US" sz="2000" b="1"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a:extLst>
              <a:ext uri="{FF2B5EF4-FFF2-40B4-BE49-F238E27FC236}">
                <a16:creationId xmlns:a16="http://schemas.microsoft.com/office/drawing/2014/main" id="{20D1B463-7263-8DBF-282E-6D83ECB06C4D}"/>
              </a:ext>
            </a:extLst>
          </p:cNvPr>
          <p:cNvPicPr>
            <a:picLocks noChangeAspect="1"/>
          </p:cNvPicPr>
          <p:nvPr/>
        </p:nvPicPr>
        <p:blipFill>
          <a:blip r:embed="rId7"/>
          <a:stretch>
            <a:fillRect/>
          </a:stretch>
        </p:blipFill>
        <p:spPr>
          <a:xfrm>
            <a:off x="6400799" y="1860993"/>
            <a:ext cx="5371943" cy="3970848"/>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Understand and more familiarized with ABAP language</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Practice ABAP and write more code </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Completed</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92758" y="1963817"/>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My facilitator for custom ERP training Mr. Mir </a:t>
            </a:r>
            <a:r>
              <a:rPr lang="en-US" sz="2000" dirty="0" err="1"/>
              <a:t>Moheeb</a:t>
            </a:r>
            <a:r>
              <a:rPr lang="en-US" sz="2000" dirty="0"/>
              <a:t> Ali has been very patient and made sessions very interactive and fun. We had hands on training on SAP.</a:t>
            </a:r>
          </a:p>
          <a:p>
            <a:pPr marL="0" indent="0">
              <a:buFont typeface="Arial" panose="020B0604020202020204" pitchFamily="34" charset="0"/>
              <a:buNone/>
            </a:pPr>
            <a:r>
              <a:rPr lang="en-US" sz="2000" dirty="0"/>
              <a:t>	He made sessions very interactive and explained all the concepts very nicely. He made sessions quite informative and interactive.</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Add a graphic or a picture of how you/your team enjoyed the new learning]</a:t>
            </a:r>
          </a:p>
        </p:txBody>
      </p:sp>
      <p:pic>
        <p:nvPicPr>
          <p:cNvPr id="7170" name="Picture 2">
            <a:extLst>
              <a:ext uri="{FF2B5EF4-FFF2-40B4-BE49-F238E27FC236}">
                <a16:creationId xmlns:a16="http://schemas.microsoft.com/office/drawing/2014/main" id="{2E0798B1-2D68-E153-ABC1-3F6A5CE1D8E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30793" y="1963817"/>
            <a:ext cx="5520713" cy="4076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191918"/>
            <a:ext cx="9804401" cy="4442421"/>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800" b="1" dirty="0"/>
              <a:t>Quick Summary:</a:t>
            </a:r>
          </a:p>
          <a:p>
            <a:pPr>
              <a:lnSpc>
                <a:spcPct val="100000"/>
              </a:lnSpc>
            </a:pPr>
            <a:r>
              <a:rPr lang="en-US" sz="1800" dirty="0"/>
              <a:t>ABAP is object oriented programming language that helps us in implementing modules in SAP-ERP.</a:t>
            </a:r>
          </a:p>
          <a:p>
            <a:pPr>
              <a:lnSpc>
                <a:spcPct val="100000"/>
              </a:lnSpc>
            </a:pPr>
            <a:r>
              <a:rPr lang="en-US" sz="1800" dirty="0"/>
              <a:t>RICEFW are the main concepts in ERP which are Reports, Interfaces, Conversions, Enhancements, Forms, Workflow</a:t>
            </a:r>
          </a:p>
          <a:p>
            <a:pPr marL="0" indent="0">
              <a:lnSpc>
                <a:spcPct val="100000"/>
              </a:lnSpc>
              <a:buNone/>
            </a:pPr>
            <a:r>
              <a:rPr lang="en-US" sz="1800" b="1" dirty="0"/>
              <a:t>Importance of topics in upcoming week:</a:t>
            </a:r>
          </a:p>
          <a:p>
            <a:pPr>
              <a:lnSpc>
                <a:spcPct val="100000"/>
              </a:lnSpc>
            </a:pPr>
            <a:r>
              <a:rPr lang="en-US" sz="1800" dirty="0"/>
              <a:t>BTP and S4 HANA and functional part of SAP are the topics for next week. </a:t>
            </a:r>
            <a:endParaRPr lang="en-US" sz="1800" b="1" dirty="0"/>
          </a:p>
          <a:p>
            <a:pPr>
              <a:lnSpc>
                <a:spcPct val="100000"/>
              </a:lnSpc>
            </a:pPr>
            <a:r>
              <a:rPr lang="en-US" sz="1800" dirty="0"/>
              <a:t>Since Shell implements ERP, BTP can be used as a front-end language and HANA is the database with high analytical capabilities.</a:t>
            </a:r>
          </a:p>
          <a:p>
            <a:pPr marL="0" indent="0">
              <a:lnSpc>
                <a:spcPct val="100000"/>
              </a:lnSpc>
              <a:buNone/>
            </a:pPr>
            <a:r>
              <a:rPr lang="en-US" sz="1800" b="1" dirty="0"/>
              <a:t>Connectivity of topics from current week:</a:t>
            </a:r>
          </a:p>
          <a:p>
            <a:pPr>
              <a:lnSpc>
                <a:spcPct val="100000"/>
              </a:lnSpc>
            </a:pPr>
            <a:r>
              <a:rPr lang="en-US" sz="1800" dirty="0"/>
              <a:t>BTP is front-end language whereas ABAP is back-end language.</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I am not a person who just completes the task, I enjoy the process and grow through it”</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Please share an image / visual that best represents you</a:t>
            </a:r>
          </a:p>
        </p:txBody>
      </p:sp>
      <p:pic>
        <p:nvPicPr>
          <p:cNvPr id="6" name="Picture 5" descr="A person with a bun in her hair">
            <a:extLst>
              <a:ext uri="{FF2B5EF4-FFF2-40B4-BE49-F238E27FC236}">
                <a16:creationId xmlns:a16="http://schemas.microsoft.com/office/drawing/2014/main" id="{53AD419E-EB29-D460-6701-7886F9334231}"/>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399098" y="1831738"/>
            <a:ext cx="5467781" cy="4118372"/>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800" b="1" dirty="0"/>
              <a:t>Key Learnings:</a:t>
            </a:r>
            <a:r>
              <a:rPr lang="en-US" sz="1800" dirty="0"/>
              <a:t> I have learned what exactly a business process and what are different functional areas of an organization and tasks involved in each functional area.</a:t>
            </a:r>
          </a:p>
          <a:p>
            <a:pPr marL="0" indent="0" algn="just">
              <a:buNone/>
            </a:pPr>
            <a:r>
              <a:rPr lang="en-US" sz="1800" b="1" dirty="0"/>
              <a:t>Key takeaways: </a:t>
            </a:r>
            <a:r>
              <a:rPr lang="en-US" sz="1800" dirty="0"/>
              <a:t>To complete a task efficiently, all functional areas must collaborate, leveraging their unique expertise.</a:t>
            </a:r>
          </a:p>
          <a:p>
            <a:pPr marL="0" indent="0" algn="just">
              <a:buNone/>
            </a:pPr>
            <a:endParaRPr lang="en-US" sz="1800" dirty="0"/>
          </a:p>
          <a:p>
            <a:pPr marL="0" indent="0" algn="just">
              <a:buNone/>
            </a:pPr>
            <a:r>
              <a:rPr lang="en-US" sz="1800" dirty="0"/>
              <a:t>Just like in every other sector, cross functional collaboration ensures efficient resource management and adherence to safety and environmental regulation. Engineering, operations, and finance teams must align to optimize processes and reduce operational risks.</a:t>
            </a:r>
            <a:endParaRPr lang="en-US" sz="1800" b="1" dirty="0"/>
          </a:p>
          <a:p>
            <a:pPr marL="0" indent="0">
              <a:buNone/>
            </a:pPr>
            <a:endParaRPr lang="en-US" sz="1800" b="1"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dd a graphic that provides evidence of what you learned]</a:t>
            </a:r>
          </a:p>
          <a:p>
            <a:pPr marL="0" indent="0">
              <a:buFont typeface="Arial" panose="020B0604020202020204" pitchFamily="34" charset="0"/>
              <a:buNone/>
            </a:pPr>
            <a:endParaRPr lang="en-US" sz="2000" dirty="0"/>
          </a:p>
        </p:txBody>
      </p:sp>
      <p:sp>
        <p:nvSpPr>
          <p:cNvPr id="6" name="Rectangle 3">
            <a:extLst>
              <a:ext uri="{FF2B5EF4-FFF2-40B4-BE49-F238E27FC236}">
                <a16:creationId xmlns:a16="http://schemas.microsoft.com/office/drawing/2014/main" id="{FBC938CB-415A-E7BC-B00B-1D916124BC48}"/>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4099" name="Picture 3">
            <a:extLst>
              <a:ext uri="{FF2B5EF4-FFF2-40B4-BE49-F238E27FC236}">
                <a16:creationId xmlns:a16="http://schemas.microsoft.com/office/drawing/2014/main" id="{7C108DA4-0A12-025B-D4C1-CAC2D76EE2F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0799" y="1860993"/>
            <a:ext cx="5323029" cy="4076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b="1" dirty="0"/>
              <a:t>Key learnings: </a:t>
            </a:r>
            <a:r>
              <a:rPr lang="en-US" sz="1800" dirty="0"/>
              <a:t>I have learned how ABAP works and syntax of ABAP.</a:t>
            </a:r>
          </a:p>
          <a:p>
            <a:pPr marL="0" indent="0">
              <a:buFont typeface="Arial" panose="020B0604020202020204" pitchFamily="34" charset="0"/>
              <a:buNone/>
            </a:pPr>
            <a:r>
              <a:rPr lang="en-US" sz="1800" b="1" dirty="0"/>
              <a:t>Key takeaways: </a:t>
            </a:r>
            <a:r>
              <a:rPr lang="en-US" sz="1800" dirty="0"/>
              <a:t>ABAP is SAP’s language for developing applications, known for its integration with SAP HANA and emphasis on clean, maintainable code.</a:t>
            </a:r>
          </a:p>
          <a:p>
            <a:pPr marL="0" indent="0">
              <a:buFont typeface="Arial" panose="020B0604020202020204" pitchFamily="34" charset="0"/>
              <a:buNone/>
            </a:pPr>
            <a:r>
              <a:rPr lang="en-US" sz="1800" dirty="0"/>
              <a:t>In Shell, ABAP is used to customize SAP ERP modules and manage large volumes of data efficiently, ensuring seamless integration and process automation within their IT landscape. Additionally, ABAP supports Shell’s digital transformation initiatives by enabling advanced analytics and real-time data process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dd a graphic that provides evidence of what you learned]</a:t>
            </a:r>
          </a:p>
          <a:p>
            <a:pPr marL="0" indent="0">
              <a:buFont typeface="Arial" panose="020B0604020202020204" pitchFamily="34" charset="0"/>
              <a:buNone/>
            </a:pPr>
            <a:endParaRPr lang="en-US" sz="2000" dirty="0"/>
          </a:p>
        </p:txBody>
      </p:sp>
      <p:pic>
        <p:nvPicPr>
          <p:cNvPr id="5" name="Picture 4" descr="A notebook with writing on it&#10;&#10;Description automatically generated">
            <a:extLst>
              <a:ext uri="{FF2B5EF4-FFF2-40B4-BE49-F238E27FC236}">
                <a16:creationId xmlns:a16="http://schemas.microsoft.com/office/drawing/2014/main" id="{7010085E-D22C-3A09-F3F4-6F1C90E91FB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16200000">
            <a:off x="7088186" y="1223760"/>
            <a:ext cx="3920578" cy="5350706"/>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2"/>
            <a:ext cx="5653806" cy="4405053"/>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b="1" dirty="0"/>
              <a:t>Key learnings: </a:t>
            </a:r>
            <a:r>
              <a:rPr lang="en-US" sz="1800" dirty="0"/>
              <a:t>I have learned how to write programs in ABAP and understood the syntax of it</a:t>
            </a:r>
          </a:p>
          <a:p>
            <a:pPr marL="0" indent="0">
              <a:buFont typeface="Arial" panose="020B0604020202020204" pitchFamily="34" charset="0"/>
              <a:buNone/>
            </a:pPr>
            <a:endParaRPr lang="en-US" sz="1800" dirty="0"/>
          </a:p>
          <a:p>
            <a:pPr marL="0" indent="0">
              <a:buFont typeface="Arial" panose="020B0604020202020204" pitchFamily="34" charset="0"/>
              <a:buNone/>
            </a:pPr>
            <a:r>
              <a:rPr lang="en-US" sz="1800" b="1" dirty="0"/>
              <a:t>Key Takeaways: </a:t>
            </a:r>
            <a:r>
              <a:rPr lang="en-US" sz="1800" dirty="0"/>
              <a:t>I have learned syntax for data declaration, table declaration, different types of reports, queries for selecting and different t-codes for transactions and I have written many programs.</a:t>
            </a:r>
          </a:p>
          <a:p>
            <a:pPr marL="0" indent="0">
              <a:buFont typeface="Arial" panose="020B0604020202020204" pitchFamily="34" charset="0"/>
              <a:buNone/>
            </a:pPr>
            <a:endParaRPr lang="en-US" sz="1800" dirty="0"/>
          </a:p>
          <a:p>
            <a:pPr marL="0" indent="0">
              <a:buFont typeface="Arial" panose="020B0604020202020204" pitchFamily="34" charset="0"/>
              <a:buNone/>
            </a:pPr>
            <a:endParaRPr lang="en-US" sz="1800" dirty="0"/>
          </a:p>
          <a:p>
            <a:pPr marL="0" indent="0">
              <a:buFont typeface="Arial" panose="020B0604020202020204" pitchFamily="34" charset="0"/>
              <a:buNone/>
            </a:pPr>
            <a:r>
              <a:rPr lang="en-US" sz="1800" dirty="0"/>
              <a:t>At Shell, ABAP would be used as front-end language for their ERP. It would be used to maintain and manipulate their data and create different reports and display data and implement selection screens</a:t>
            </a:r>
          </a:p>
          <a:p>
            <a:pPr marL="0" indent="0">
              <a:buFont typeface="Arial" panose="020B0604020202020204" pitchFamily="34" charset="0"/>
              <a:buNone/>
            </a:pPr>
            <a:r>
              <a:rPr lang="en-US" sz="1800" dirty="0"/>
              <a:t>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2"/>
            <a:ext cx="5350706" cy="432805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dd a graphic that provides evidence of what you learned]</a:t>
            </a:r>
          </a:p>
          <a:p>
            <a:pPr marL="0" indent="0">
              <a:buFont typeface="Arial" panose="020B0604020202020204" pitchFamily="34" charset="0"/>
              <a:buNone/>
            </a:pPr>
            <a:endParaRPr lang="en-US" sz="2000" dirty="0"/>
          </a:p>
        </p:txBody>
      </p:sp>
      <p:pic>
        <p:nvPicPr>
          <p:cNvPr id="5122" name="Picture 2">
            <a:extLst>
              <a:ext uri="{FF2B5EF4-FFF2-40B4-BE49-F238E27FC236}">
                <a16:creationId xmlns:a16="http://schemas.microsoft.com/office/drawing/2014/main" id="{F99B47DE-DE3D-CB84-DEA0-891684C1F83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8988"/>
          <a:stretch/>
        </p:blipFill>
        <p:spPr bwMode="auto">
          <a:xfrm>
            <a:off x="6426777" y="1811899"/>
            <a:ext cx="5323029" cy="436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t>Shell implements its business processes through integrated business areas like Integrated Gas, Upstream, and Downstream, supported by strategic planning and advanced supply chain management systems.</a:t>
            </a:r>
          </a:p>
          <a:p>
            <a:pPr marL="0" indent="0">
              <a:buNone/>
            </a:pPr>
            <a:r>
              <a:rPr lang="en-US" sz="1800" dirty="0"/>
              <a:t> 	Cross-functional teams at Shell consist of diverse members from various departments, working together with clear goals and effective communication. This collaboration drives innovation, efficiency, and continuous improvement, ensuring that Shell meets its objectives and adapts to changing market demand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group of people sitting on a platform&#10;&#10;Description automatically generated">
            <a:extLst>
              <a:ext uri="{FF2B5EF4-FFF2-40B4-BE49-F238E27FC236}">
                <a16:creationId xmlns:a16="http://schemas.microsoft.com/office/drawing/2014/main" id="{46429467-3581-655B-4B63-1334579B6CC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0799" y="1831023"/>
            <a:ext cx="5349007" cy="4116371"/>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t>ABAP (Advanced Business Application Programming) remains highly relevant, especially within the SAP ecosystem. It is essential for customizing and enhancing SAP applications, enabling real-time data processing, and integrating advanced analytics and machine learning. </a:t>
            </a:r>
          </a:p>
          <a:p>
            <a:pPr marL="0" indent="0">
              <a:buNone/>
            </a:pPr>
            <a:endParaRPr lang="en-US" sz="1800" dirty="0"/>
          </a:p>
          <a:p>
            <a:pPr marL="0" indent="0">
              <a:buNone/>
            </a:pPr>
            <a:endParaRPr lang="en-US" sz="1800" dirty="0"/>
          </a:p>
          <a:p>
            <a:pPr marL="0" indent="0">
              <a:buNone/>
            </a:pPr>
            <a:r>
              <a:rPr lang="en-US" sz="1800" dirty="0"/>
              <a:t>Shell, a global energy company, leverages ABAP to drive digital transformation and sustainability initiatives, customizing SAP applications to meet specific business needs like carbon accounting and supply chain management. </a:t>
            </a:r>
          </a:p>
          <a:p>
            <a:pPr marL="0" indent="0">
              <a:buNone/>
            </a:pP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10424" y="18706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0" name="Picture 2" descr="How to Create Your First ABAP Program in SAP [13 Steps]">
            <a:extLst>
              <a:ext uri="{FF2B5EF4-FFF2-40B4-BE49-F238E27FC236}">
                <a16:creationId xmlns:a16="http://schemas.microsoft.com/office/drawing/2014/main" id="{7DF5D841-C46B-B6B6-729F-FADB2085B5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10424" y="1941742"/>
            <a:ext cx="5313404" cy="40051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d64320fb-f9a3-4131-8206-9d18da17abe9"/>
    <ds:schemaRef ds:uri="http://purl.org/dc/terms/"/>
    <ds:schemaRef ds:uri="http://purl.org/dc/elements/1.1/"/>
    <ds:schemaRef ds:uri="http://schemas.microsoft.com/office/2006/metadata/properties"/>
    <ds:schemaRef ds:uri="http://schemas.microsoft.com/office/infopath/2007/PartnerControls"/>
    <ds:schemaRef ds:uri="http://schemas.microsoft.com/office/2006/documentManagement/types"/>
    <ds:schemaRef ds:uri="http://schemas.openxmlformats.org/package/2006/metadata/core-properties"/>
    <ds:schemaRef ds:uri="http://www.w3.org/XML/1998/namespace"/>
    <ds:schemaRef ds:uri="489eda54-cdc8-4a48-94a2-8f9cf8024289"/>
    <ds:schemaRef ds:uri="http://purl.org/dc/dcmitype/"/>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1087</TotalTime>
  <Words>1051</Words>
  <Application>Microsoft Office PowerPoint</Application>
  <PresentationFormat>Widescreen</PresentationFormat>
  <Paragraphs>93</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Jallipalli, Lakshmi Susmitha Jayasri SBOBNG-PTIY/AAF</cp:lastModifiedBy>
  <cp:revision>501</cp:revision>
  <dcterms:created xsi:type="dcterms:W3CDTF">2022-01-18T12:35:56Z</dcterms:created>
  <dcterms:modified xsi:type="dcterms:W3CDTF">2024-09-13T15:03: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